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60" r:id="rId6"/>
    <p:sldId id="261" r:id="rId7"/>
    <p:sldId id="265" r:id="rId8"/>
    <p:sldId id="263" r:id="rId9"/>
    <p:sldId id="264" r:id="rId10"/>
    <p:sldId id="262" r:id="rId11"/>
    <p:sldId id="266" r:id="rId12"/>
    <p:sldId id="267" r:id="rId13"/>
    <p:sldId id="268" r:id="rId14"/>
    <p:sldId id="269" r:id="rId15"/>
    <p:sldId id="270" r:id="rId16"/>
    <p:sldId id="271" r:id="rId17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20"/>
    </p:embeddedFont>
    <p:embeddedFont>
      <p:font typeface="Orsted Sans Office" panose="00000500000000000000" pitchFamily="2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10" autoAdjust="0"/>
  </p:normalViewPr>
  <p:slideViewPr>
    <p:cSldViewPr snapToGrid="0" showGuides="1">
      <p:cViewPr varScale="1">
        <p:scale>
          <a:sx n="130" d="100"/>
          <a:sy n="130" d="100"/>
        </p:scale>
        <p:origin x="110" y="91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5.fntdata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3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07 December 2023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07 December 2023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3" Type="http://schemas.openxmlformats.org/officeDocument/2006/relationships/tags" Target="../tags/tag19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56" Type="http://schemas.openxmlformats.org/officeDocument/2006/relationships/tags" Target="../tags/tag2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46" Type="http://schemas.openxmlformats.org/officeDocument/2006/relationships/tags" Target="../tags/tag1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54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49" Type="http://schemas.openxmlformats.org/officeDocument/2006/relationships/tags" Target="../tags/tag15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0.xml"/><Relationship Id="rId5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Team portfolio</a:t>
            </a: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PL Software Engineering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5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3013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6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40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7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3599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Main</a:t>
            </a:r>
            <a:r>
              <a:rPr lang="pl-PL" dirty="0"/>
              <a:t> </a:t>
            </a:r>
            <a:r>
              <a:rPr lang="pl-PL" dirty="0" err="1"/>
              <a:t>Competency</a:t>
            </a:r>
            <a:r>
              <a:rPr lang="pl-PL" dirty="0"/>
              <a:t> &amp; </a:t>
            </a:r>
            <a:r>
              <a:rPr lang="pl-PL" dirty="0" err="1"/>
              <a:t>Skill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F9C739-C60B-948D-5E18-5BE5FAAAC70A}"/>
              </a:ext>
            </a:extLst>
          </p:cNvPr>
          <p:cNvSpPr/>
          <p:nvPr/>
        </p:nvSpPr>
        <p:spPr>
          <a:xfrm>
            <a:off x="432000" y="82800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ducation</a:t>
            </a:r>
            <a:endParaRPr lang="pl-PL" sz="1300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F51B62C-1E5E-D78A-21DD-EF6A4E16181E}"/>
              </a:ext>
            </a:extLst>
          </p:cNvPr>
          <p:cNvSpPr/>
          <p:nvPr/>
        </p:nvSpPr>
        <p:spPr>
          <a:xfrm>
            <a:off x="2521150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Experienc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C1BC5FF-39E9-AF33-4F02-3283E04C6493}"/>
              </a:ext>
            </a:extLst>
          </p:cNvPr>
          <p:cNvSpPr/>
          <p:nvPr/>
        </p:nvSpPr>
        <p:spPr>
          <a:xfrm>
            <a:off x="4717806" y="8270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AEB43D-2797-6134-B432-BBD5C71802A7}"/>
              </a:ext>
            </a:extLst>
          </p:cNvPr>
          <p:cNvSpPr/>
          <p:nvPr/>
        </p:nvSpPr>
        <p:spPr>
          <a:xfrm>
            <a:off x="6913075" y="82708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Area</a:t>
            </a:r>
            <a:r>
              <a:rPr lang="pl-PL" sz="1300" dirty="0"/>
              <a:t> of </a:t>
            </a:r>
            <a:r>
              <a:rPr lang="pl-PL" sz="1300" dirty="0" err="1"/>
              <a:t>interest</a:t>
            </a:r>
            <a:endParaRPr lang="pl-PL" sz="1300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7A80285-C40E-E96F-51A1-8D689D52790E}"/>
              </a:ext>
            </a:extLst>
          </p:cNvPr>
          <p:cNvSpPr/>
          <p:nvPr/>
        </p:nvSpPr>
        <p:spPr>
          <a:xfrm>
            <a:off x="431800" y="1530534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1D8988C-ADEE-3839-A5C7-4EAE91C3C671}"/>
              </a:ext>
            </a:extLst>
          </p:cNvPr>
          <p:cNvSpPr/>
          <p:nvPr/>
        </p:nvSpPr>
        <p:spPr>
          <a:xfrm>
            <a:off x="2520950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DD9BD14-79CB-7FA2-4B96-5455AEC0F607}"/>
              </a:ext>
            </a:extLst>
          </p:cNvPr>
          <p:cNvSpPr/>
          <p:nvPr/>
        </p:nvSpPr>
        <p:spPr>
          <a:xfrm>
            <a:off x="4717606" y="1529622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F458282-D2D2-B200-092E-7828648B5BA3}"/>
              </a:ext>
            </a:extLst>
          </p:cNvPr>
          <p:cNvSpPr/>
          <p:nvPr/>
        </p:nvSpPr>
        <p:spPr>
          <a:xfrm>
            <a:off x="6912875" y="1529621"/>
            <a:ext cx="1797538" cy="27849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0167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87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320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9" name="Picture 8" descr="Silhouette of a construction site">
            <a:extLst>
              <a:ext uri="{FF2B5EF4-FFF2-40B4-BE49-F238E27FC236}">
                <a16:creationId xmlns:a16="http://schemas.microsoft.com/office/drawing/2014/main" id="{91314FFE-0E55-3C72-EC30-A95CCF30ED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7205" y="1003318"/>
            <a:ext cx="1645138" cy="109649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26851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1" name="Picture 10" descr="Silhouette of a construction site">
            <a:extLst>
              <a:ext uri="{FF2B5EF4-FFF2-40B4-BE49-F238E27FC236}">
                <a16:creationId xmlns:a16="http://schemas.microsoft.com/office/drawing/2014/main" id="{7C332DD7-093B-4870-B410-A185BEB643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091" y="1003318"/>
            <a:ext cx="1645138" cy="109649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4855029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3" name="Picture 12" descr="Silhouette of a construction site">
            <a:extLst>
              <a:ext uri="{FF2B5EF4-FFF2-40B4-BE49-F238E27FC236}">
                <a16:creationId xmlns:a16="http://schemas.microsoft.com/office/drawing/2014/main" id="{D29807D4-FBA9-4FDD-F704-4F1C4892D6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605" y="1003318"/>
            <a:ext cx="1645138" cy="10964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92A13B4-2148-ADC1-1088-4537B0EA1AEB}"/>
              </a:ext>
            </a:extLst>
          </p:cNvPr>
          <p:cNvSpPr/>
          <p:nvPr/>
        </p:nvSpPr>
        <p:spPr>
          <a:xfrm>
            <a:off x="6901543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5" name="Picture 14" descr="Silhouette of a construction site">
            <a:extLst>
              <a:ext uri="{FF2B5EF4-FFF2-40B4-BE49-F238E27FC236}">
                <a16:creationId xmlns:a16="http://schemas.microsoft.com/office/drawing/2014/main" id="{E3794A7C-67F3-AA37-DCE9-91E8AF4830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57" y="2990170"/>
            <a:ext cx="1645138" cy="109649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85595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7" name="Picture 16" descr="Silhouette of a construction site">
            <a:extLst>
              <a:ext uri="{FF2B5EF4-FFF2-40B4-BE49-F238E27FC236}">
                <a16:creationId xmlns:a16="http://schemas.microsoft.com/office/drawing/2014/main" id="{58A33CF5-2E63-F9DA-8E2B-1CEA61EB2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43" y="2990170"/>
            <a:ext cx="1645138" cy="109649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4D078C-0BD4-D05A-A857-1109FCB467C4}"/>
              </a:ext>
            </a:extLst>
          </p:cNvPr>
          <p:cNvSpPr/>
          <p:nvPr/>
        </p:nvSpPr>
        <p:spPr>
          <a:xfrm>
            <a:off x="27554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19" name="Picture 18" descr="Silhouette of a construction site">
            <a:extLst>
              <a:ext uri="{FF2B5EF4-FFF2-40B4-BE49-F238E27FC236}">
                <a16:creationId xmlns:a16="http://schemas.microsoft.com/office/drawing/2014/main" id="{14478683-921A-CBB3-9AAB-ADD9AF6CA5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429" y="2990170"/>
            <a:ext cx="1645138" cy="10964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9B7AC35-BE5B-25D3-83AC-948276570908}"/>
              </a:ext>
            </a:extLst>
          </p:cNvPr>
          <p:cNvSpPr/>
          <p:nvPr/>
        </p:nvSpPr>
        <p:spPr>
          <a:xfrm>
            <a:off x="4925367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  <p:pic>
        <p:nvPicPr>
          <p:cNvPr id="21" name="Picture 20" descr="Silhouette of a construction site">
            <a:extLst>
              <a:ext uri="{FF2B5EF4-FFF2-40B4-BE49-F238E27FC236}">
                <a16:creationId xmlns:a16="http://schemas.microsoft.com/office/drawing/2014/main" id="{D3E8E318-8F94-2728-85B1-0B9E9D49B7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43" y="2990170"/>
            <a:ext cx="1645138" cy="1096491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6A60F35-5452-61E9-9305-DBEE7D4CB2CA}"/>
              </a:ext>
            </a:extLst>
          </p:cNvPr>
          <p:cNvSpPr/>
          <p:nvPr/>
        </p:nvSpPr>
        <p:spPr>
          <a:xfrm>
            <a:off x="6971881" y="4403481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JJJJJJ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7568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1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367757"/>
            <a:ext cx="1879600" cy="30559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Jan Bielecki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6" y="2740223"/>
            <a:ext cx="1879601" cy="33716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Full </a:t>
            </a:r>
            <a:r>
              <a:rPr lang="pl-PL" sz="1300" noProof="0" dirty="0" err="1"/>
              <a:t>Stack</a:t>
            </a:r>
            <a:r>
              <a:rPr lang="pl-PL" sz="1300" noProof="0" dirty="0"/>
              <a:t> Develop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5" y="3142326"/>
            <a:ext cx="1879599" cy="22420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/>
              <a:t>E-ART.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2865200" y="2311811"/>
            <a:ext cx="1879600" cy="105471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9FF536-C742-9F1A-4110-A6D4349AE9B4}"/>
              </a:ext>
            </a:extLst>
          </p:cNvPr>
          <p:cNvSpPr/>
          <p:nvPr/>
        </p:nvSpPr>
        <p:spPr>
          <a:xfrm>
            <a:off x="4951608" y="2311811"/>
            <a:ext cx="1879600" cy="105471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Experience</a:t>
            </a:r>
            <a:endParaRPr lang="pl-PL" sz="1300" noProof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9EA5EA-5E12-EF32-0740-BD917168A415}"/>
              </a:ext>
            </a:extLst>
          </p:cNvPr>
          <p:cNvSpPr/>
          <p:nvPr/>
        </p:nvSpPr>
        <p:spPr>
          <a:xfrm>
            <a:off x="7079347" y="2289734"/>
            <a:ext cx="1879600" cy="105471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Education</a:t>
            </a:r>
            <a:endParaRPr lang="pl-PL" sz="13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622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2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4426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3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5037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am (4/7)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8F7199-0056-4781-8966-456704A6A1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34795-8816-4550-9B09-94B000773C8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" name="Picture 2" descr="Silhouette of a construction site">
            <a:extLst>
              <a:ext uri="{FF2B5EF4-FFF2-40B4-BE49-F238E27FC236}">
                <a16:creationId xmlns:a16="http://schemas.microsoft.com/office/drawing/2014/main" id="{85F1155B-1FD3-A0D4-7927-DF78A28BC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19" y="1003318"/>
            <a:ext cx="1645138" cy="109649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53A1CC-1EBD-EF4D-2E1C-271A385BEA21}"/>
              </a:ext>
            </a:extLst>
          </p:cNvPr>
          <p:cNvSpPr/>
          <p:nvPr/>
        </p:nvSpPr>
        <p:spPr>
          <a:xfrm>
            <a:off x="515257" y="241662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F49571-F3BB-BCCD-B38B-D16F48299DEF}"/>
              </a:ext>
            </a:extLst>
          </p:cNvPr>
          <p:cNvSpPr/>
          <p:nvPr/>
        </p:nvSpPr>
        <p:spPr>
          <a:xfrm>
            <a:off x="515257" y="2990170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8F0092-4241-9573-6220-A6D29C52C8DE}"/>
              </a:ext>
            </a:extLst>
          </p:cNvPr>
          <p:cNvSpPr/>
          <p:nvPr/>
        </p:nvSpPr>
        <p:spPr>
          <a:xfrm>
            <a:off x="515257" y="365049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6C7395-CDA3-BC34-28C8-F8029A6964C7}"/>
              </a:ext>
            </a:extLst>
          </p:cNvPr>
          <p:cNvSpPr/>
          <p:nvPr/>
        </p:nvSpPr>
        <p:spPr>
          <a:xfrm>
            <a:off x="515257" y="4261979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" name="Picture 1" descr="Silhouette of a construction site">
            <a:extLst>
              <a:ext uri="{FF2B5EF4-FFF2-40B4-BE49-F238E27FC236}">
                <a16:creationId xmlns:a16="http://schemas.microsoft.com/office/drawing/2014/main" id="{1AA6439A-1294-97ED-FDCB-829739B1B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69" y="1027113"/>
            <a:ext cx="1645138" cy="109649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2977883-84CB-76EE-7016-47C0F27EF5A0}"/>
              </a:ext>
            </a:extLst>
          </p:cNvPr>
          <p:cNvSpPr/>
          <p:nvPr/>
        </p:nvSpPr>
        <p:spPr>
          <a:xfrm>
            <a:off x="3556907" y="244042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D5E82F-2D6B-5B9A-B1DE-2967DDA8446C}"/>
              </a:ext>
            </a:extLst>
          </p:cNvPr>
          <p:cNvSpPr/>
          <p:nvPr/>
        </p:nvSpPr>
        <p:spPr>
          <a:xfrm>
            <a:off x="3556907" y="3013965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B7594E-7CB1-FEF9-D672-880B412A0A9B}"/>
              </a:ext>
            </a:extLst>
          </p:cNvPr>
          <p:cNvSpPr/>
          <p:nvPr/>
        </p:nvSpPr>
        <p:spPr>
          <a:xfrm>
            <a:off x="3556907" y="3674288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A66F19F-5C6E-A24E-8FA1-1F9E183BCD14}"/>
              </a:ext>
            </a:extLst>
          </p:cNvPr>
          <p:cNvSpPr/>
          <p:nvPr/>
        </p:nvSpPr>
        <p:spPr>
          <a:xfrm>
            <a:off x="3556907" y="428577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  <p:pic>
        <p:nvPicPr>
          <p:cNvPr id="26" name="Picture 25" descr="Silhouette of a construction site">
            <a:extLst>
              <a:ext uri="{FF2B5EF4-FFF2-40B4-BE49-F238E27FC236}">
                <a16:creationId xmlns:a16="http://schemas.microsoft.com/office/drawing/2014/main" id="{10633AD2-5389-1ABA-8B27-8F4ACC2AEA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205" y="1059402"/>
            <a:ext cx="1645138" cy="1096491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2F7EDB6-3558-FEBB-B438-8B68F562EDF2}"/>
              </a:ext>
            </a:extLst>
          </p:cNvPr>
          <p:cNvSpPr/>
          <p:nvPr/>
        </p:nvSpPr>
        <p:spPr>
          <a:xfrm>
            <a:off x="6749143" y="247271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 err="1"/>
              <a:t>Name</a:t>
            </a:r>
            <a:endParaRPr lang="pl-PL" sz="13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622D5B-E1A2-CF4A-7E80-251C4C61DE99}"/>
              </a:ext>
            </a:extLst>
          </p:cNvPr>
          <p:cNvSpPr/>
          <p:nvPr/>
        </p:nvSpPr>
        <p:spPr>
          <a:xfrm>
            <a:off x="6749143" y="3046254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noProof="0" dirty="0"/>
              <a:t>AR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E9B99B9-234D-08D6-9D3F-C2226DF3206F}"/>
              </a:ext>
            </a:extLst>
          </p:cNvPr>
          <p:cNvSpPr/>
          <p:nvPr/>
        </p:nvSpPr>
        <p:spPr>
          <a:xfrm>
            <a:off x="6749143" y="3706577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title</a:t>
            </a:r>
            <a:endParaRPr lang="pl-PL" sz="1300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9804B5-36CF-2E9F-2322-45E3F12FD283}"/>
              </a:ext>
            </a:extLst>
          </p:cNvPr>
          <p:cNvSpPr/>
          <p:nvPr/>
        </p:nvSpPr>
        <p:spPr>
          <a:xfrm>
            <a:off x="6749143" y="4318063"/>
            <a:ext cx="1797538" cy="25672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pl-PL" sz="1300" dirty="0" err="1"/>
              <a:t>Competencies</a:t>
            </a:r>
            <a:endParaRPr lang="pl-PL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583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Decafy xmlns="d28a985e-5dd5-4de5-8d45-33c71db132d5">false</IsDecafy>
    <_dlc_DocId xmlns="b9fa2689-23e1-470a-a57e-b1145bf90d8a">Deca00003229-972600388-12685</_dlc_DocId>
    <_dlc_DocIdUrl xmlns="b9fa2689-23e1-470a-a57e-b1145bf90d8a">
      <Url>https://dongenergy.sharepoint.com/sites/WSClientDoc/_layouts/15/DocIdRedir.aspx?ID=Deca00003229-972600388-12685</Url>
      <Description>Deca00003229-972600388-1268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43072E641F443A8FF06C6F6FAB00C" ma:contentTypeVersion="12" ma:contentTypeDescription="Create a new document." ma:contentTypeScope="" ma:versionID="44f7f8b9bcd875eb0177f86d65eb8c66">
  <xsd:schema xmlns:xsd="http://www.w3.org/2001/XMLSchema" xmlns:xs="http://www.w3.org/2001/XMLSchema" xmlns:p="http://schemas.microsoft.com/office/2006/metadata/properties" xmlns:ns2="b9fa2689-23e1-470a-a57e-b1145bf90d8a" xmlns:ns3="d28a985e-5dd5-4de5-8d45-33c71db132d5" targetNamespace="http://schemas.microsoft.com/office/2006/metadata/properties" ma:root="true" ma:fieldsID="274fda35af0db3fea021229faa95f249" ns2:_="" ns3:_="">
    <xsd:import namespace="b9fa2689-23e1-470a-a57e-b1145bf90d8a"/>
    <xsd:import namespace="d28a985e-5dd5-4de5-8d45-33c71db132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IsDecafy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a985e-5dd5-4de5-8d45-33c71db132d5" elementFormDefault="qualified">
    <xsd:import namespace="http://schemas.microsoft.com/office/2006/documentManagement/types"/>
    <xsd:import namespace="http://schemas.microsoft.com/office/infopath/2007/PartnerControls"/>
    <xsd:element name="IsDecafy" ma:index="11" nillable="true" ma:displayName="IsDecafy" ma:default="true" ma:description="This is a hidden column to identify if the Library has Decafy." ma:hidden="true" ma:internalName="IsDecafy">
      <xsd:simpleType>
        <xsd:restriction base="dms:Boolean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95FD6D3-617E-4D46-AB12-0659D9023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</TotalTime>
  <Words>156</Words>
  <Application>Microsoft Office PowerPoint</Application>
  <PresentationFormat>On-screen Show (16:9)</PresentationFormat>
  <Paragraphs>12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Orsted Sans Office</vt:lpstr>
      <vt:lpstr>Arial</vt:lpstr>
      <vt:lpstr>Arial Black</vt:lpstr>
      <vt:lpstr>Orsted</vt:lpstr>
      <vt:lpstr>think-cell Slide</vt:lpstr>
      <vt:lpstr>Team portfolio</vt:lpstr>
      <vt:lpstr>Main Competency &amp; Skills</vt:lpstr>
      <vt:lpstr>Team</vt:lpstr>
      <vt:lpstr>Team</vt:lpstr>
      <vt:lpstr>Team</vt:lpstr>
      <vt:lpstr>Team (1/7)</vt:lpstr>
      <vt:lpstr>Team (2/7)</vt:lpstr>
      <vt:lpstr>Team (3/7)</vt:lpstr>
      <vt:lpstr>Team (4/7)</vt:lpstr>
      <vt:lpstr>Team (5/7)</vt:lpstr>
      <vt:lpstr>Team (6/7)</vt:lpstr>
      <vt:lpstr>Team (7/7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Kowalska</dc:creator>
  <cp:keywords/>
  <cp:lastModifiedBy>Kamila Kazimierska</cp:lastModifiedBy>
  <cp:revision>4</cp:revision>
  <dcterms:created xsi:type="dcterms:W3CDTF">2023-10-20T12:25:09Z</dcterms:created>
  <dcterms:modified xsi:type="dcterms:W3CDTF">2023-12-07T13:07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1-26T05:00:08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25fefe53-adc1-421d-86aa-12f2411af06e</vt:lpwstr>
  </property>
  <property fmtid="{D5CDD505-2E9C-101B-9397-08002B2CF9AE}" pid="11" name="MSIP_Label_b8d9a29f-7d17-4193-85e4-1bef0fc2e901_ContentBits">
    <vt:lpwstr>1</vt:lpwstr>
  </property>
</Properties>
</file>